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78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3ABF2-E4E5-C539-C4C5-DE4FDEEF7C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B5A543-9E4B-4B5F-B419-14DA889969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F7869D-C100-0C9C-E929-67B97F531B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D2CCEC-E129-62BF-963C-6F66D2362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990B6E-0D8D-61A4-D0AB-44C0F32EC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24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1CE2D-4142-E9E5-9A9C-133CBF1B5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29F524-21DE-EB55-1838-1D677F6607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1503ED-4195-49B8-1DAA-1F40D8047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4B0961-8209-2BAD-B350-AFD8E9F37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55D80A-E39F-0C4D-2432-987EE792C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701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29B68D-8EE8-CADC-1E2A-9FDDDC8743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FB848-C7F2-5F65-DFCF-5252C1A657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975827-B14F-07F3-156A-6AE3DBA76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41018D-F821-F77A-EBF5-EBB321615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C1519-62C7-3A06-B26D-9E5E3CFC1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04438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F270E-51B0-CF98-252B-6181B8304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50F590-F68D-4D30-410B-64A078D4CB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F12390-019C-A0F7-E13B-FAC81BF16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4F5327-13B9-9B34-E3BB-99949C26B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43DA11-2A64-4C84-2FD9-013BF2B3B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097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9ED26-517B-4564-7A9F-4DFE50B64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8EA1B4-2634-DA3D-F088-4555B9A660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696976-FA4B-550E-1DFE-5A9AA4D99F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80527-E577-5869-AE48-EDAC75E40F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B4249-36A4-217A-A55E-A4CC0EFA3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060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E5C86-4CE1-4BF2-DCDF-9504D8BE0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54DCB-2EB6-95CB-5D9A-756ACA0BC7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99DEAC-7871-76CC-9FC3-916C7FCA91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07EFA6-4B1D-E481-0306-E41BC12B67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FB1514-3F26-D650-82D3-7BD8478F5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726EF4-B368-67B3-4116-696A25CA0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9729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72EAB3-7E13-4777-6531-A18919BAE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C11CB6-9275-4702-8914-5EFBBDCBC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EDD346-9CED-FC08-8A08-6A7FA234CE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BE9105-40CF-D464-460F-49EA4B505B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7DD788-8FD5-8E72-0C1D-194EC504B1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723D353-57A2-FDC0-5AC3-34B18D1E4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C7C8AE-C870-B980-1F35-0A969DC3A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63DD45-6CA2-7F8A-B29B-180E8B615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1395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ADCBC-D764-345E-33AB-8EB1A35821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61494F-9117-D3B8-447D-550DBD7B8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A162D-6F73-F61F-10C7-730E8A2C5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377FE6-7D99-45FA-1B1D-1D39C5D3E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9773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71C044-0A49-6A4B-81E4-64B0F5B6C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8EFB73-6451-1F5E-1F8A-25FF5C20C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DEBA05-F8BD-B59B-DE29-8B34BCED1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1135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EA8349-B191-9E65-D8DD-4180CD3F4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F5DEB3-8417-C8D6-C4AC-75D3BAB87B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D7F8AD-90FB-4D25-8139-4856D4B94F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BD02B2-EA55-AE0F-ACCF-0ED3AC961F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FEBF24-1900-2371-40D9-E25C25DFD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6AE6F5-83A8-FE17-1CA2-37D7BFECE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095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2FD-18F6-A951-EA07-1782F4487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9561B-A45E-3025-AD2B-F08672043A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7340C6-D58D-1AD9-EB72-56247D4BDC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EFD268-870E-CC96-1D96-929250E2D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C2DD2C-97F1-7839-8261-72E5EB443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661F94-CA50-936A-F558-52840312D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1995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CE63799-0370-DDAB-8316-951BC96CF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85201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E63799-0370-DDAB-8316-951BC96CF7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2A8CE-887A-6278-B2A5-2A2B75FF2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5B527-D876-C248-46EA-31C36EA77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6FDA32-88AA-AEF8-5C7E-F782F1B45C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3CF7E2-95CB-4ED9-8535-AFE1ADA4182D}" type="datetimeFigureOut">
              <a:rPr lang="en-GB" smtClean="0"/>
              <a:t>10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DCA2AA-578C-F1DD-86AF-BBF2F773C7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4DA33C-1B74-37EA-931D-DC7BEFB494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6DA238-7BDE-4F7F-A161-20C2F31947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453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A185E2-A7D2-5B0A-5D15-3EA7A2BDE4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9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185E2-A7D2-5B0A-5D15-3EA7A2BDE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8269D71-A3E9-B730-0984-4AA1099886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23217"/>
            <a:ext cx="12163609" cy="22671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30EE7BB-0EC2-34B3-A4CF-2A628823AF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039621"/>
            <a:ext cx="12192000" cy="347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700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4A0971D-A333-DA51-17A4-F35D56A69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29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0971D-A333-DA51-17A4-F35D56A69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1209CC-7DA6-3049-6207-9BDEA0BE69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444875"/>
            <a:ext cx="12192000" cy="3107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DAEAE08-52D6-2C8D-4125-8D8516D8BFED}"/>
              </a:ext>
            </a:extLst>
          </p:cNvPr>
          <p:cNvSpPr txBox="1"/>
          <p:nvPr/>
        </p:nvSpPr>
        <p:spPr>
          <a:xfrm>
            <a:off x="1255060" y="537882"/>
            <a:ext cx="55312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L2 to L3 validation when trying to Advance to next L Gate</a:t>
            </a:r>
          </a:p>
        </p:txBody>
      </p:sp>
    </p:spTree>
    <p:extLst>
      <p:ext uri="{BB962C8B-B14F-4D97-AF65-F5344CB8AC3E}">
        <p14:creationId xmlns:p14="http://schemas.microsoft.com/office/powerpoint/2010/main" val="2934878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12</Words>
  <Application>Microsoft Office PowerPoint</Application>
  <PresentationFormat>Widescreen</PresentationFormat>
  <Paragraphs>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jide, Isaac SPDC-PTP/P/N</dc:creator>
  <cp:lastModifiedBy>Bejide, Isaac SPDC-PTP/P/N</cp:lastModifiedBy>
  <cp:revision>2</cp:revision>
  <dcterms:created xsi:type="dcterms:W3CDTF">2024-10-21T13:40:08Z</dcterms:created>
  <dcterms:modified xsi:type="dcterms:W3CDTF">2024-11-10T20:17:02Z</dcterms:modified>
</cp:coreProperties>
</file>